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60" r:id="rId2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1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1223" y="7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1AD4DA-A10E-4AD2-82B1-C74C91B04C96}" type="datetimeFigureOut">
              <a:rPr lang="ru-RU" smtClean="0"/>
              <a:t>27.03.201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CE6C78-F11E-40F6-8164-1B84DB2B02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28980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  <a:ln/>
        </p:spPr>
      </p:sp>
      <p:sp>
        <p:nvSpPr>
          <p:cNvPr id="45059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/>
          </a:p>
        </p:txBody>
      </p:sp>
      <p:sp>
        <p:nvSpPr>
          <p:cNvPr id="45060" name="Дата 3"/>
          <p:cNvSpPr>
            <a:spLocks noGrp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algn="ctr" defTabSz="44926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algn="ctr" defTabSz="44926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algn="ctr" defTabSz="44926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algn="ctr" defTabSz="44926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fld id="{F0FE20CF-46AA-44A1-AC1C-9CE19A365310}" type="datetime1">
              <a:rPr lang="ru-RU" sz="600" smtClean="0">
                <a:solidFill>
                  <a:srgbClr val="000000"/>
                </a:solidFill>
              </a:rPr>
              <a:pPr/>
              <a:t>27.03.2014</a:t>
            </a:fld>
            <a:endParaRPr lang="de-DE" sz="600" smtClean="0">
              <a:solidFill>
                <a:srgbClr val="000000"/>
              </a:solidFill>
            </a:endParaRPr>
          </a:p>
        </p:txBody>
      </p:sp>
      <p:sp>
        <p:nvSpPr>
          <p:cNvPr id="45061" name="Номер слайда 4"/>
          <p:cNvSpPr>
            <a:spLocks noGrp="1"/>
          </p:cNvSpPr>
          <p:nvPr>
            <p:ph type="sldNum" sz="quarter" idx="3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algn="ctr" defTabSz="44926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algn="ctr" defTabSz="44926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algn="ctr" defTabSz="44926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algn="ctr" defTabSz="44926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fld id="{58B1576C-C4E3-4932-A142-44653F634E78}" type="slidenum">
              <a:rPr lang="de-DE" sz="600">
                <a:solidFill>
                  <a:srgbClr val="000000"/>
                </a:solidFill>
              </a:rPr>
              <a:pPr/>
              <a:t>1</a:t>
            </a:fld>
            <a:endParaRPr lang="de-DE" sz="600">
              <a:solidFill>
                <a:srgbClr val="000000"/>
              </a:solidFill>
            </a:endParaRPr>
          </a:p>
        </p:txBody>
      </p:sp>
      <p:sp>
        <p:nvSpPr>
          <p:cNvPr id="45062" name="Верхний колонтитул 5"/>
          <p:cNvSpPr>
            <a:spLocks noGrp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263" eaLnBrk="0" hangingPunct="0">
              <a:defRPr sz="16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defTabSz="449263" eaLnBrk="0" hangingPunct="0">
              <a:defRPr sz="16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defTabSz="449263" eaLnBrk="0" hangingPunct="0">
              <a:defRPr sz="16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defTabSz="449263" eaLnBrk="0" hangingPunct="0">
              <a:defRPr sz="16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defTabSz="449263" eaLnBrk="0" hangingPunct="0">
              <a:defRPr sz="16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algn="ctr" defTabSz="44926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16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algn="ctr" defTabSz="44926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16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algn="ctr" defTabSz="44926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16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algn="ctr" defTabSz="44926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defRPr sz="16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endParaRPr lang="ru-RU" sz="6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962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2" Type="http://schemas.openxmlformats.org/officeDocument/2006/relationships/tags" Target="../tags/tag10.xml"/><Relationship Id="rId16" Type="http://schemas.openxmlformats.org/officeDocument/2006/relationships/image" Target="../media/image2.wmf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1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 bwMode="auto">
      <p:bgPr>
        <a:gradFill rotWithShape="0">
          <a:gsLst>
            <a:gs pos="0">
              <a:schemeClr val="bg1"/>
            </a:gs>
            <a:gs pos="100000">
              <a:srgbClr val="99999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5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74350" y="5172321"/>
            <a:ext cx="65" cy="166199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defRPr/>
            </a:pPr>
            <a:endParaRPr lang="ru-RU" sz="1200">
              <a:solidFill>
                <a:srgbClr val="000000"/>
              </a:solidFill>
            </a:endParaRPr>
          </a:p>
        </p:txBody>
      </p:sp>
      <p:sp>
        <p:nvSpPr>
          <p:cNvPr id="6" name="Rectangle 3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06388" y="3962400"/>
            <a:ext cx="8534400" cy="259080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defRPr/>
            </a:pPr>
            <a:endParaRPr lang="ru-RU" sz="1200">
              <a:solidFill>
                <a:srgbClr val="000000"/>
              </a:solidFill>
            </a:endParaRPr>
          </a:p>
        </p:txBody>
      </p:sp>
      <p:sp>
        <p:nvSpPr>
          <p:cNvPr id="7" name="Rectangle 3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04800" y="3962400"/>
            <a:ext cx="8534400" cy="259080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defRPr/>
            </a:pPr>
            <a:endParaRPr lang="ru-RU" sz="1200">
              <a:solidFill>
                <a:srgbClr val="000000"/>
              </a:solidFill>
            </a:endParaRPr>
          </a:p>
        </p:txBody>
      </p:sp>
      <p:sp>
        <p:nvSpPr>
          <p:cNvPr id="8" name="VCT_Marker_ID_4134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270001" y="127000"/>
            <a:ext cx="127000" cy="127000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defRPr/>
            </a:pPr>
            <a:endParaRPr lang="ru-RU" sz="1200">
              <a:solidFill>
                <a:srgbClr val="000000"/>
              </a:solidFill>
            </a:endParaRPr>
          </a:p>
        </p:txBody>
      </p:sp>
      <p:pic>
        <p:nvPicPr>
          <p:cNvPr id="9" name="Picture 794" descr="TSY_PPT_Label_neu"/>
          <p:cNvPicPr preferRelativeResize="0"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" b="1210"/>
          <a:stretch>
            <a:fillRect/>
          </a:stretch>
        </p:blipFill>
        <p:spPr bwMode="gray">
          <a:xfrm>
            <a:off x="304801" y="5948365"/>
            <a:ext cx="8524875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VCT_Backup_ID_4895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04801" y="3962400"/>
            <a:ext cx="8529638" cy="1525588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62000" tIns="9450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defRPr/>
            </a:pPr>
            <a:r>
              <a:rPr lang="en-US" sz="2400">
                <a:solidFill>
                  <a:srgbClr val="E20074"/>
                </a:solidFill>
              </a:rPr>
              <a:t>Mastertitelformat bearbeiten</a:t>
            </a:r>
          </a:p>
        </p:txBody>
      </p:sp>
      <p:sp>
        <p:nvSpPr>
          <p:cNvPr id="11" name="VCT_Backup_ID_4896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04801" y="5486402"/>
            <a:ext cx="8529638" cy="468313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75500" tIns="0" rIns="0" bIns="0"/>
          <a:lstStyle/>
          <a:p>
            <a:pPr fontAlgn="base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defRPr/>
            </a:pPr>
            <a:r>
              <a:rPr lang="en-US" sz="1200">
                <a:solidFill>
                  <a:srgbClr val="000000"/>
                </a:solidFill>
              </a:rPr>
              <a:t>Master-Untertitelformat bearbeiten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4801" y="3962400"/>
            <a:ext cx="8529638" cy="1525588"/>
          </a:xfrm>
          <a:solidFill>
            <a:schemeClr val="bg1"/>
          </a:solidFill>
        </p:spPr>
        <p:txBody>
          <a:bodyPr lIns="216000" tIns="126000"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04801" y="5486402"/>
            <a:ext cx="8529638" cy="468313"/>
          </a:xfrm>
          <a:solidFill>
            <a:schemeClr val="bg1"/>
          </a:solidFill>
        </p:spPr>
        <p:txBody>
          <a:bodyPr lIns="234000"/>
          <a:lstStyle>
            <a:lvl1pPr marL="0" indent="0">
              <a:buFont typeface="Wingdings" pitchFamily="2" charset="2"/>
              <a:buNone/>
              <a:defRPr sz="1200"/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2" name="Rectangle 35"/>
          <p:cNvSpPr>
            <a:spLocks noGrp="1" noChangeArrowheads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2EC399-D01C-454C-811A-4CBCB959E776}" type="datetime1">
              <a:rPr lang="en-US">
                <a:solidFill>
                  <a:srgbClr val="000000"/>
                </a:solidFill>
              </a:rPr>
              <a:pPr>
                <a:defRPr/>
              </a:pPr>
              <a:t>3/27/2014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3" name="Rectangle 36"/>
          <p:cNvSpPr>
            <a:spLocks noGrp="1" noChangeArrowheads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Intern  Anastasiya Kuzmina/Inna Kolupaeva     Классификация по уровням и видам тестирования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4" name="Rectangle 37"/>
          <p:cNvSpPr>
            <a:spLocks noGrp="1" noChangeArrowheads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C7218CAC-EB0A-4B1B-865B-900AC20BE2C8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16019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8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4FC42E-05F8-4192-BD27-ED553EEE216C}" type="datetime1">
              <a:rPr lang="en-US">
                <a:solidFill>
                  <a:srgbClr val="000000"/>
                </a:solidFill>
              </a:rPr>
              <a:pPr>
                <a:defRPr/>
              </a:pPr>
              <a:t>3/27/2014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tangle 49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Intern  Anastasiya Kuzmina/Inna Kolupaeva     Классификация по уровням и видам тестирования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50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F84DA80-3559-43FA-9B89-92BB17BFACFD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31909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05600" y="225427"/>
            <a:ext cx="2133600" cy="56038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04800" y="225427"/>
            <a:ext cx="6248400" cy="56038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8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84817C-06EA-4A91-9D07-1C70D9A7FF77}" type="datetime1">
              <a:rPr lang="en-US">
                <a:solidFill>
                  <a:srgbClr val="000000"/>
                </a:solidFill>
              </a:rPr>
              <a:pPr>
                <a:defRPr/>
              </a:pPr>
              <a:t>3/27/2014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tangle 49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Intern  Anastasiya Kuzmina/Inna Kolupaeva     Классификация по уровням и видам тестирования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50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DAC509F-8F65-43D4-B369-A9CC2294D2B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22681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8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D025A-F134-42C5-99CE-A3B17928269F}" type="datetime1">
              <a:rPr lang="en-US">
                <a:solidFill>
                  <a:srgbClr val="000000"/>
                </a:solidFill>
              </a:rPr>
              <a:pPr>
                <a:defRPr/>
              </a:pPr>
              <a:t>3/27/2014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tangle 49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Intern  Anastasiya Kuzmina/Inna Kolupaeva     Классификация по уровням и видам тестирования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50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287F795-CBD1-4B3A-B450-DD9E9233D81E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34495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8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E143E4-3576-41F7-A34A-8868475337C4}" type="datetime1">
              <a:rPr lang="en-US">
                <a:solidFill>
                  <a:srgbClr val="000000"/>
                </a:solidFill>
              </a:rPr>
              <a:pPr>
                <a:defRPr/>
              </a:pPr>
              <a:t>3/27/2014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tangle 49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Intern  Anastasiya Kuzmina/Inna Kolupaeva     Классификация по уровням и видам тестирования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50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1519757-71BA-4E55-87DE-A74B73D27F66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56596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04800" y="1485900"/>
            <a:ext cx="4191000" cy="43434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485900"/>
            <a:ext cx="4191000" cy="43434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8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99A4AE-D744-4B3D-A83E-237D9EE59B68}" type="datetime1">
              <a:rPr lang="en-US">
                <a:solidFill>
                  <a:srgbClr val="000000"/>
                </a:solidFill>
              </a:rPr>
              <a:pPr>
                <a:defRPr/>
              </a:pPr>
              <a:t>3/27/2014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49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Intern  Anastasiya Kuzmina/Inna Kolupaeva     Классификация по уровням и видам тестирования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9F6E17-0506-441B-BC4C-591528A9BA51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07283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8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3670D7-B0BF-445A-B423-E112F66CE16A}" type="datetime1">
              <a:rPr lang="en-US">
                <a:solidFill>
                  <a:srgbClr val="000000"/>
                </a:solidFill>
              </a:rPr>
              <a:pPr>
                <a:defRPr/>
              </a:pPr>
              <a:t>3/27/2014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Rectangle 49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Intern  Anastasiya Kuzmina/Inna Kolupaeva     Классификация по уровням и видам тестирования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Rectangle 50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C28C442-5D9F-493A-85F8-4FB8B5A90EF3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43092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8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14570F-27C5-414E-A4B9-B7D256941F05}" type="datetime1">
              <a:rPr lang="en-US">
                <a:solidFill>
                  <a:srgbClr val="000000"/>
                </a:solidFill>
              </a:rPr>
              <a:pPr>
                <a:defRPr/>
              </a:pPr>
              <a:t>3/27/2014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Rectangle 49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Intern  Anastasiya Kuzmina/Inna Kolupaeva     Классификация по уровням и видам тестирования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3E5AA15-8AC7-45FB-8499-D8129514E99A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13170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8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37A59C-23E7-4D5B-81DB-A1BFFFD465DE}" type="datetime1">
              <a:rPr lang="en-US">
                <a:solidFill>
                  <a:srgbClr val="000000"/>
                </a:solidFill>
              </a:rPr>
              <a:pPr>
                <a:defRPr/>
              </a:pPr>
              <a:t>3/27/2014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Rectangle 49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Intern  Anastasiya Kuzmina/Inna Kolupaeva     Классификация по уровням и видам тестирования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BAB5E45-D6E9-499D-95A4-9F170AC54CA7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15776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8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1FC087-4EDD-40F2-B120-45840BE5E4BB}" type="datetime1">
              <a:rPr lang="en-US">
                <a:solidFill>
                  <a:srgbClr val="000000"/>
                </a:solidFill>
              </a:rPr>
              <a:pPr>
                <a:defRPr/>
              </a:pPr>
              <a:t>3/27/2014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49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Intern  Anastasiya Kuzmina/Inna Kolupaeva     Классификация по уровням и видам тестирования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2F1EC14-72D3-4697-801A-5562CA3FF4C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10424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8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8641DE-B6F2-4175-930D-BE2D26ACFB90}" type="datetime1">
              <a:rPr lang="en-US">
                <a:solidFill>
                  <a:srgbClr val="000000"/>
                </a:solidFill>
              </a:rPr>
              <a:pPr>
                <a:defRPr/>
              </a:pPr>
              <a:t>3/27/2014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49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Intern  Anastasiya Kuzmina/Inna Kolupaeva     Классификация по уровням и видам тестирования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FAE4EF8-4CF3-4E69-BCFB-07D5AC8FE12D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49144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5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74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304801" y="225425"/>
            <a:ext cx="8532813" cy="116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9" name="Rectangle 35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gray">
          <a:xfrm>
            <a:off x="304800" y="1485900"/>
            <a:ext cx="8534400" cy="434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072" name="Rectangle 48"/>
          <p:cNvSpPr>
            <a:spLocks noGrp="1" noChangeArrowheads="1"/>
          </p:cNvSpPr>
          <p:nvPr>
            <p:ph type="dt" sz="half" idx="2"/>
            <p:custDataLst>
              <p:tags r:id="rId17"/>
            </p:custDataLst>
          </p:nvPr>
        </p:nvSpPr>
        <p:spPr bwMode="gray">
          <a:xfrm>
            <a:off x="7269164" y="6602413"/>
            <a:ext cx="809625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675" smtClean="0"/>
            </a:lvl1pPr>
          </a:lstStyle>
          <a:p>
            <a:pPr fontAlgn="base">
              <a:spcAft>
                <a:spcPct val="0"/>
              </a:spcAft>
              <a:defRPr/>
            </a:pPr>
            <a:fld id="{2E4601B5-FE6B-4014-81BC-6324D0C86169}" type="datetime1">
              <a:rPr lang="en-US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3/27/2014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073" name="Rectangle 49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gray">
          <a:xfrm>
            <a:off x="304801" y="6602413"/>
            <a:ext cx="6607175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675" smtClean="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>
                <a:solidFill>
                  <a:srgbClr val="000000"/>
                </a:solidFill>
              </a:rPr>
              <a:t>Intern  Anastasiya Kuzmina/Inna Kolupaeva     Классификация по уровням и видам тестирования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gray">
          <a:xfrm>
            <a:off x="8301039" y="6602413"/>
            <a:ext cx="539750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675"/>
            </a:lvl1pPr>
          </a:lstStyle>
          <a:p>
            <a:pPr fontAlgn="base">
              <a:spcAft>
                <a:spcPct val="0"/>
              </a:spcAft>
            </a:pPr>
            <a:fld id="{82120468-23BD-4CAD-BC19-9C442745D664}" type="slidenum">
              <a:rPr lang="de-DE">
                <a:solidFill>
                  <a:srgbClr val="000000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075" name="VCT_Marker_ID_1075" hidden="1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1270001" y="127000"/>
            <a:ext cx="127000" cy="127000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defRPr/>
            </a:pPr>
            <a:endParaRPr lang="ru-RU" sz="1200">
              <a:solidFill>
                <a:srgbClr val="000000"/>
              </a:solidFill>
            </a:endParaRPr>
          </a:p>
        </p:txBody>
      </p:sp>
      <p:pic>
        <p:nvPicPr>
          <p:cNvPr id="1034" name="Picture 239" descr="TSY_PPT_Label_neu"/>
          <p:cNvPicPr preferRelativeResize="0"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" b="1210"/>
          <a:stretch>
            <a:fillRect/>
          </a:stretch>
        </p:blipFill>
        <p:spPr bwMode="gray">
          <a:xfrm>
            <a:off x="304801" y="5948365"/>
            <a:ext cx="8524875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64" name="Rectangle 240">
            <a:hlinkClick r:id="" action="ppaction://noaction"/>
          </p:cNvPr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23851" y="5949950"/>
            <a:ext cx="2447925" cy="6477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anose="05000000000000000000" pitchFamily="2" charset="2"/>
              <a:buNone/>
              <a:defRPr/>
            </a:pPr>
            <a:endParaRPr lang="ru-RU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632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>
    <p:fade/>
  </p:transition>
  <p:hf sldNum="0"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Tele-GroteskNor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Tele-GroteskNor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Tele-GroteskNor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Tele-GroteskNor" pitchFamily="2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Tele-GroteskNor" pitchFamily="2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Tele-GroteskNor" pitchFamily="2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Tele-GroteskNor" pitchFamily="2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Tele-GroteskNor" pitchFamily="2" charset="0"/>
        </a:defRPr>
      </a:lvl9pPr>
    </p:titleStyle>
    <p:bodyStyle>
      <a:lvl1pPr marL="166688" indent="-166688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436960" indent="-166688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2pPr>
      <a:lvl3pPr marL="706041" indent="-165497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3pPr>
      <a:lvl4pPr marL="907256" indent="-103585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4pPr>
      <a:lvl5pPr marL="1246585" indent="-172641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5pPr>
      <a:lvl6pPr marL="1589485" indent="-172641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6pPr>
      <a:lvl7pPr marL="1932385" indent="-172641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7pPr>
      <a:lvl8pPr marL="2275285" indent="-172641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8pPr>
      <a:lvl9pPr marL="2618185" indent="-172641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4000" dirty="0" smtClean="0"/>
              <a:t>Особенности тестирования </a:t>
            </a:r>
            <a:r>
              <a:rPr lang="en-US" sz="4000" dirty="0" smtClean="0"/>
              <a:t>Enterprise </a:t>
            </a:r>
            <a:r>
              <a:rPr lang="ru-RU" sz="4000" dirty="0" smtClean="0"/>
              <a:t>приложений</a:t>
            </a:r>
            <a:endParaRPr lang="ru-RU" sz="40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04800" y="2952520"/>
            <a:ext cx="8415051" cy="2876780"/>
          </a:xfrm>
        </p:spPr>
        <p:txBody>
          <a:bodyPr/>
          <a:lstStyle/>
          <a:p>
            <a:pPr marL="539353" lvl="2" indent="0">
              <a:buNone/>
            </a:pPr>
            <a:r>
              <a:rPr lang="ru-RU" sz="2400" dirty="0" smtClean="0"/>
              <a:t>Любомир Пташинский</a:t>
            </a:r>
          </a:p>
          <a:p>
            <a:pPr marL="539353" lvl="2" indent="0">
              <a:buNone/>
            </a:pPr>
            <a:r>
              <a:rPr lang="ru-RU" sz="2400" dirty="0" smtClean="0"/>
              <a:t>Руководитель группы тестирования</a:t>
            </a:r>
          </a:p>
          <a:p>
            <a:pPr marL="539353" lvl="2" indent="0">
              <a:buNone/>
            </a:pPr>
            <a:endParaRPr lang="ru-RU" sz="2400" dirty="0"/>
          </a:p>
          <a:p>
            <a:pPr marL="539353" lvl="2" indent="0">
              <a:buNone/>
            </a:pPr>
            <a:r>
              <a:rPr lang="en-US" sz="2400" dirty="0" smtClean="0"/>
              <a:t>Lubomir.Ptashinskiy@T-Systems.ru</a:t>
            </a:r>
            <a:endParaRPr lang="ru-RU" sz="2400" dirty="0"/>
          </a:p>
          <a:p>
            <a:pPr marL="0" indent="0">
              <a:buNone/>
            </a:pPr>
            <a:endParaRPr lang="ru-RU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3531" y="2952520"/>
            <a:ext cx="1644267" cy="1644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4622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6bPFIaMEWfGPG4w5Q4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CAJ2IZMUiIEC5ZXQS0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OpL.8tNEGUrRcvnxJM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6.05.2010 09:51:40"/>
  <p:tag name="THINKCELLSHAPEDONOTDELETE" val="pJG9M2uveXEaf.Sby3Dx0ig"/>
  <p:tag name="VCTMASTER" val="TSY Master"/>
  <p:tag name="VCTLAYOUT" val="title"/>
  <p:tag name="VCTOR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XPGEm9HUKUp20u2nTMY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12.10.2010 14:15:23"/>
  <p:tag name="PLACEHFMT" val="3"/>
  <p:tag name="VCT-BODYINDENTATION" val="0;0;0;0;0;0;0;0;0;0;"/>
  <p:tag name="VCT-BULLETVISIBILITY" val="L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12.10.2010 14:15:23"/>
  <p:tag name="PLACEHFMT" val="4"/>
  <p:tag name="VCT-BODYINDENTATION" val="0;0;28,375;28,375;56,75;56,75;84,375;84,375;112,75;112,75;"/>
  <p:tag name="VCT-BULLETVISIBILITY" val="L 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XzStFetUGACAtuBbgF_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TD_3s2zEywT1bpRT.s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Ku8jd_yEqc4Jbnn68MI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nq86mk0Eueuyz0xg6N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xhJObfU6jljMJP.MH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e1qtFodk6BqqZxff..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z4eyRyTUq2MNBLGQ2D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xhJObfU6jljMJP.MHV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e1qtFodk6BqqZxff..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z4eyRyTUq2MNBLGQ2DE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xhJObfU6jljMJP.MH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e1qtFodk6BqqZxff..k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z4eyRyTUq2MNBLGQ2D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5l1iFMPE2f.i3f4oXApQ"/>
  <p:tag name="VCT-BODYINDENTATION" val="0;17,5;28,375;45,875;56,75;74,125;84,375;95,25;112,75;130,875;"/>
  <p:tag name="VCT-BULLETVISIBILITY" val="G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xhJObfU6jljMJP.MH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e1qtFodk6BqqZxff..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z4eyRyTUq2MNBLGQ2DE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xhJObfU6jljMJP.MHV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e1qtFodk6BqqZxff..k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z4eyRyTUq2MNBLGQ2DE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xhJObfU6jljMJP.MHV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e1qtFodk6BqqZxff..k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z4eyRyTUq2MNBLGQ2DE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xhJObfU6jljMJP.MH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xhJObfU6jljMJP.MHV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e1qtFodk6BqqZxff..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z4eyRyTUq2MNBLGQ2DE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xhJObfU6jljMJP.MHV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e1qtFodk6BqqZxff..k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z4eyRyTUq2MNBLGQ2DE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xhJObfU6jljMJP.MHV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e1qtFodk6BqqZxff..k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z4eyRyTUq2MNBLGQ2DE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xhJObfU6jljMJP.MHV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e1qtFodk6BqqZxff..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e1qtFodk6BqqZxff..k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z4eyRyTUq2MNBLGQ2D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z4eyRyTUq2MNBLGQ2D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6.05.2010 09:51:40"/>
  <p:tag name="THINKCELLSHAPEDONOTDELETE" val="pAYxOIeG9eE2Bq95UmhMVIQ"/>
  <p:tag name="VCTMASTER" val="TSY Master"/>
  <p:tag name="VCTOR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kM8v9sp0OX0C9SevYM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tjhtgjQ0KfTNacqwqYuQ"/>
</p:tagLst>
</file>

<file path=ppt/theme/theme1.xml><?xml version="1.0" encoding="utf-8"?>
<a:theme xmlns:a="http://schemas.openxmlformats.org/drawingml/2006/main" name="TSY Master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427BAB"/>
      </a:accent1>
      <a:accent2>
        <a:srgbClr val="FDD167"/>
      </a:accent2>
      <a:accent3>
        <a:srgbClr val="FFFFFF"/>
      </a:accent3>
      <a:accent4>
        <a:srgbClr val="000000"/>
      </a:accent4>
      <a:accent5>
        <a:srgbClr val="B0BFD2"/>
      </a:accent5>
      <a:accent6>
        <a:srgbClr val="E5BD5D"/>
      </a:accent6>
      <a:hlink>
        <a:srgbClr val="E20074"/>
      </a:hlink>
      <a:folHlink>
        <a:srgbClr val="64B9E4"/>
      </a:folHlink>
    </a:clrScheme>
    <a:fontScheme name="TSY Master">
      <a:majorFont>
        <a:latin typeface="Tele-GroteskNor"/>
        <a:ea typeface=""/>
        <a:cs typeface=""/>
      </a:majorFont>
      <a:minorFont>
        <a:latin typeface="Tele-GroteskNor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rgbClr val="999999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5000"/>
          <a:buFont typeface="Wingdings" pitchFamily="2" charset="2"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ele-GroteskNor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rgbClr val="999999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5000"/>
          <a:buFont typeface="Wingdings" pitchFamily="2" charset="2"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ele-GroteskNor" pitchFamily="2" charset="0"/>
          </a:defRPr>
        </a:defPPr>
      </a:lstStyle>
    </a:lnDef>
  </a:objectDefaults>
  <a:extraClrSchemeLst>
    <a:extraClrScheme>
      <a:clrScheme name="TSY Master 1">
        <a:dk1>
          <a:srgbClr val="000000"/>
        </a:dk1>
        <a:lt1>
          <a:srgbClr val="FFFFFF"/>
        </a:lt1>
        <a:dk2>
          <a:srgbClr val="E20074"/>
        </a:dk2>
        <a:lt2>
          <a:srgbClr val="CCCCCC"/>
        </a:lt2>
        <a:accent1>
          <a:srgbClr val="3366CC"/>
        </a:accent1>
        <a:accent2>
          <a:srgbClr val="FDCD67"/>
        </a:accent2>
        <a:accent3>
          <a:srgbClr val="FFFFFF"/>
        </a:accent3>
        <a:accent4>
          <a:srgbClr val="000000"/>
        </a:accent4>
        <a:accent5>
          <a:srgbClr val="ADB8E2"/>
        </a:accent5>
        <a:accent6>
          <a:srgbClr val="E5BA5D"/>
        </a:accent6>
        <a:hlink>
          <a:srgbClr val="E20074"/>
        </a:hlink>
        <a:folHlink>
          <a:srgbClr val="99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</TotalTime>
  <Words>8</Words>
  <Application>Microsoft Office PowerPoint</Application>
  <PresentationFormat>On-screen Show (4:3)</PresentationFormat>
  <Paragraphs>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Tele-GroteskNor</vt:lpstr>
      <vt:lpstr>Wingdings</vt:lpstr>
      <vt:lpstr>TSY Master</vt:lpstr>
      <vt:lpstr>think-cell Slide</vt:lpstr>
      <vt:lpstr>   Особенности тестирования Enterprise приложений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собенности тестирования Enterprise приложений</dc:title>
  <dc:creator>lptashin</dc:creator>
  <cp:lastModifiedBy>lptashin</cp:lastModifiedBy>
  <cp:revision>2</cp:revision>
  <dcterms:created xsi:type="dcterms:W3CDTF">2014-03-26T21:22:14Z</dcterms:created>
  <dcterms:modified xsi:type="dcterms:W3CDTF">2014-03-26T21:37:16Z</dcterms:modified>
</cp:coreProperties>
</file>